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F6F6F6"/>
    <a:srgbClr val="D9D9D9"/>
    <a:srgbClr val="BDBDBD"/>
    <a:srgbClr val="727272"/>
    <a:srgbClr val="E5E5E5"/>
    <a:srgbClr val="444444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S)" userId="fd3b2067-2981-4ad8-bf3a-d2e1004e4fa8" providerId="ADAL" clId="{DA0FFA84-692C-41CD-BE82-7B5F572D36F5}"/>
    <pc:docChg chg="modSld">
      <pc:chgData name="Weigel Stefan (PAR-ES)" userId="fd3b2067-2981-4ad8-bf3a-d2e1004e4fa8" providerId="ADAL" clId="{DA0FFA84-692C-41CD-BE82-7B5F572D36F5}" dt="2023-06-05T14:26:57.051" v="72" actId="6549"/>
      <pc:docMkLst>
        <pc:docMk/>
      </pc:docMkLst>
      <pc:sldChg chg="modSp mod">
        <pc:chgData name="Weigel Stefan (PAR-ES)" userId="fd3b2067-2981-4ad8-bf3a-d2e1004e4fa8" providerId="ADAL" clId="{DA0FFA84-692C-41CD-BE82-7B5F572D36F5}" dt="2023-06-05T14:26:57.051" v="72" actId="6549"/>
        <pc:sldMkLst>
          <pc:docMk/>
          <pc:sldMk cId="2378578510" sldId="412"/>
        </pc:sldMkLst>
      </pc:sldChg>
    </pc:docChg>
  </pc:docChgLst>
  <pc:docChgLst>
    <pc:chgData name="Weigel Stefan (PAR-EPS)" userId="fd3b2067-2981-4ad8-bf3a-d2e1004e4fa8" providerId="ADAL" clId="{3BD85041-18DE-4DBC-95E9-157D9640CA17}"/>
    <pc:docChg chg="modSld">
      <pc:chgData name="Weigel Stefan (PAR-EPS)" userId="fd3b2067-2981-4ad8-bf3a-d2e1004e4fa8" providerId="ADAL" clId="{3BD85041-18DE-4DBC-95E9-157D9640CA17}" dt="2025-04-25T14:25:08.440" v="35" actId="20577"/>
      <pc:docMkLst>
        <pc:docMk/>
      </pc:docMkLst>
      <pc:sldChg chg="modSp mod">
        <pc:chgData name="Weigel Stefan (PAR-EPS)" userId="fd3b2067-2981-4ad8-bf3a-d2e1004e4fa8" providerId="ADAL" clId="{3BD85041-18DE-4DBC-95E9-157D9640CA17}" dt="2025-04-25T14:25:08.440" v="35" actId="20577"/>
        <pc:sldMkLst>
          <pc:docMk/>
          <pc:sldMk cId="2378578510" sldId="412"/>
        </pc:sldMkLst>
        <pc:spChg chg="mod">
          <ac:chgData name="Weigel Stefan (PAR-EPS)" userId="fd3b2067-2981-4ad8-bf3a-d2e1004e4fa8" providerId="ADAL" clId="{3BD85041-18DE-4DBC-95E9-157D9640CA17}" dt="2025-04-25T14:21:39.301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3BD85041-18DE-4DBC-95E9-157D9640CA17}" dt="2025-04-25T14:21:43.126" v="2" actId="6549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PS)" userId="fd3b2067-2981-4ad8-bf3a-d2e1004e4fa8" providerId="ADAL" clId="{3BD85041-18DE-4DBC-95E9-157D9640CA17}" dt="2025-04-25T14:25:08.440" v="35" actId="20577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  <pc:docChgLst>
    <pc:chgData name="Weigel Stefan (PAR-ES)" userId="fd3b2067-2981-4ad8-bf3a-d2e1004e4fa8" providerId="ADAL" clId="{A960615E-EB95-4422-B313-59381D4A110F}"/>
    <pc:docChg chg="modSld">
      <pc:chgData name="Weigel Stefan (PAR-ES)" userId="fd3b2067-2981-4ad8-bf3a-d2e1004e4fa8" providerId="ADAL" clId="{A960615E-EB95-4422-B313-59381D4A110F}" dt="2023-06-05T14:07:36.831" v="65" actId="20577"/>
      <pc:docMkLst>
        <pc:docMk/>
      </pc:docMkLst>
      <pc:sldChg chg="modSp mod">
        <pc:chgData name="Weigel Stefan (PAR-ES)" userId="fd3b2067-2981-4ad8-bf3a-d2e1004e4fa8" providerId="ADAL" clId="{A960615E-EB95-4422-B313-59381D4A110F}" dt="2023-06-05T14:07:36.831" v="65" actId="20577"/>
        <pc:sldMkLst>
          <pc:docMk/>
          <pc:sldMk cId="2378578510" sldId="412"/>
        </pc:sldMkLst>
      </pc:sldChg>
    </pc:docChg>
  </pc:docChgLst>
  <pc:docChgLst>
    <pc:chgData name="Weigel Stefan (PAR-EPS)" userId="fd3b2067-2981-4ad8-bf3a-d2e1004e4fa8" providerId="ADAL" clId="{534E35CD-9913-4677-8D8D-06A876F5ED18}"/>
    <pc:docChg chg="modSld">
      <pc:chgData name="Weigel Stefan (PAR-EPS)" userId="fd3b2067-2981-4ad8-bf3a-d2e1004e4fa8" providerId="ADAL" clId="{534E35CD-9913-4677-8D8D-06A876F5ED18}" dt="2024-06-10T12:16:16.277" v="17" actId="27918"/>
      <pc:docMkLst>
        <pc:docMk/>
      </pc:docMkLst>
      <pc:sldChg chg="modSp mod">
        <pc:chgData name="Weigel Stefan (PAR-EPS)" userId="fd3b2067-2981-4ad8-bf3a-d2e1004e4fa8" providerId="ADAL" clId="{534E35CD-9913-4677-8D8D-06A876F5ED18}" dt="2024-06-10T12:16:16.277" v="17" actId="27918"/>
        <pc:sldMkLst>
          <pc:docMk/>
          <pc:sldMk cId="2378578510" sldId="412"/>
        </pc:sldMkLst>
      </pc:sldChg>
    </pc:docChg>
  </pc:docChgLst>
  <pc:docChgLst>
    <pc:chgData name="Weigel Stefan (PAR-ES)" userId="fd3b2067-2981-4ad8-bf3a-d2e1004e4fa8" providerId="ADAL" clId="{C33823CC-8C54-4D38-AE0F-1937C6FCF159}"/>
    <pc:docChg chg="undo custSel modSld">
      <pc:chgData name="Weigel Stefan (PAR-ES)" userId="fd3b2067-2981-4ad8-bf3a-d2e1004e4fa8" providerId="ADAL" clId="{C33823CC-8C54-4D38-AE0F-1937C6FCF159}" dt="2022-12-08T15:39:35.006" v="100" actId="20577"/>
      <pc:docMkLst>
        <pc:docMk/>
      </pc:docMkLst>
      <pc:sldChg chg="addSp delSp modSp mod">
        <pc:chgData name="Weigel Stefan (PAR-ES)" userId="fd3b2067-2981-4ad8-bf3a-d2e1004e4fa8" providerId="ADAL" clId="{C33823CC-8C54-4D38-AE0F-1937C6FCF159}" dt="2022-12-08T15:39:35.006" v="100" actId="20577"/>
        <pc:sldMkLst>
          <pc:docMk/>
          <pc:sldMk cId="2378578510" sldId="41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G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G$4:$G$15</c:f>
              <c:strCache>
                <c:ptCount val="12"/>
                <c:pt idx="0">
                  <c:v>Zürich Flughafen</c:v>
                </c:pt>
                <c:pt idx="1">
                  <c:v>Zürich Hardbrücke</c:v>
                </c:pt>
                <c:pt idx="2">
                  <c:v>Zürich Stadelhofen</c:v>
                </c:pt>
                <c:pt idx="3">
                  <c:v>Olt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Basel SBB</c:v>
                </c:pt>
                <c:pt idx="7">
                  <c:v>Luzern</c:v>
                </c:pt>
                <c:pt idx="8">
                  <c:v>Lausanne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H$4:$H$15</c:f>
              <c:numCache>
                <c:formatCode>#,##0</c:formatCode>
                <c:ptCount val="12"/>
                <c:pt idx="0">
                  <c:v>52900</c:v>
                </c:pt>
                <c:pt idx="1">
                  <c:v>61400</c:v>
                </c:pt>
                <c:pt idx="2">
                  <c:v>83700</c:v>
                </c:pt>
                <c:pt idx="3">
                  <c:v>84500</c:v>
                </c:pt>
                <c:pt idx="4">
                  <c:v>89800</c:v>
                </c:pt>
                <c:pt idx="5">
                  <c:v>98100</c:v>
                </c:pt>
                <c:pt idx="6">
                  <c:v>109000</c:v>
                </c:pt>
                <c:pt idx="7">
                  <c:v>109800</c:v>
                </c:pt>
                <c:pt idx="8">
                  <c:v>112600</c:v>
                </c:pt>
                <c:pt idx="9">
                  <c:v>114300</c:v>
                </c:pt>
                <c:pt idx="10">
                  <c:v>193100</c:v>
                </c:pt>
                <c:pt idx="11">
                  <c:v>438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I$1</c15:sqref>
                        </c15:formulaRef>
                      </c:ext>
                    </c:extLst>
                    <c:strCache>
                      <c:ptCount val="1"/>
                      <c:pt idx="0">
                        <c:v>2018</c:v>
                      </c:pt>
                    </c:strCache>
                  </c:strRef>
                </c:tx>
                <c:spPr>
                  <a:solidFill>
                    <a:srgbClr val="C0C0C0"/>
                  </a:solidFill>
                </c:spPr>
                <c:invertIfNegative val="0"/>
                <c:val>
                  <c:numRef>
                    <c:extLst>
                      <c:ext uri="{02D57815-91ED-43cb-92C2-25804820EDAC}">
                        <c15:formulaRef>
                          <c15:sqref>data!$I$4:$I$15</c15:sqref>
                        </c15:formulaRef>
                      </c:ext>
                    </c:extLst>
                    <c:numCache>
                      <c:formatCode>#,##0</c:formatCode>
                      <c:ptCount val="12"/>
                      <c:pt idx="0">
                        <c:v>52500</c:v>
                      </c:pt>
                      <c:pt idx="1">
                        <c:v>59700</c:v>
                      </c:pt>
                      <c:pt idx="2">
                        <c:v>82800</c:v>
                      </c:pt>
                      <c:pt idx="3">
                        <c:v>83000</c:v>
                      </c:pt>
                      <c:pt idx="4">
                        <c:v>70700</c:v>
                      </c:pt>
                      <c:pt idx="5">
                        <c:v>94700</c:v>
                      </c:pt>
                      <c:pt idx="6">
                        <c:v>111000</c:v>
                      </c:pt>
                      <c:pt idx="7">
                        <c:v>97900</c:v>
                      </c:pt>
                      <c:pt idx="8">
                        <c:v>102500</c:v>
                      </c:pt>
                      <c:pt idx="9">
                        <c:v>109300</c:v>
                      </c:pt>
                      <c:pt idx="10">
                        <c:v>206400</c:v>
                      </c:pt>
                      <c:pt idx="11">
                        <c:v>47130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8329-4BC0-B2A2-0C7A0E889DD6}"/>
                  </c:ext>
                </c:extLst>
              </c15:ser>
            </c15:filteredBarSeries>
          </c:ext>
        </c:extLst>
      </c:barChart>
      <c:valAx>
        <c:axId val="139943936"/>
        <c:scaling>
          <c:orientation val="minMax"/>
        </c:scaling>
        <c:delete val="0"/>
        <c:axPos val="b"/>
        <c:majorGridlines/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5.04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mbers of passengers using stations i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627214848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verage number of persons boarding and alighting from trains per working day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8" y="6106515"/>
            <a:ext cx="8029575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he 12 most frequented stations are shown, taking into account the passengers boarding and alighting from the trains; Zürich HB: excluding SZU; Bern: excluding RBS; Basel SBB and Genève: passengers boarding and alighting to/from abroad are only partially recorded; Zürich Stadelhofen: excluding FB. Reference: 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imetable year 2024.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48C67505-8833-4874-9341-2DA1D3038B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96e82a89-ba48-4728-b345-cf206dbec8f1"/>
    <ds:schemaRef ds:uri="http://purl.org/dc/terms/"/>
    <ds:schemaRef ds:uri="http://schemas.microsoft.com/office/2006/documentManagement/types"/>
    <ds:schemaRef ds:uri="2f5c8543-cf23-4718-a3b8-32b0a91d511a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1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Numbers of passengers using stations in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umbers of passengers using stations in 2024.</dc:title>
  <dc:creator>Meyer Raphael (KOM-PGA-VSF)</dc:creator>
  <cp:lastModifiedBy>Stefan Weigel (PAR-EPS)</cp:lastModifiedBy>
  <cp:revision>57</cp:revision>
  <dcterms:created xsi:type="dcterms:W3CDTF">2020-09-30T11:00:09Z</dcterms:created>
  <dcterms:modified xsi:type="dcterms:W3CDTF">2025-04-25T14:3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